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  <p:sldMasterId id="2147483691" r:id="rId2"/>
  </p:sldMasterIdLst>
  <p:notesMasterIdLst>
    <p:notesMasterId r:id="rId13"/>
  </p:notesMasterIdLst>
  <p:handoutMasterIdLst>
    <p:handoutMasterId r:id="rId14"/>
  </p:handoutMasterIdLst>
  <p:sldIdLst>
    <p:sldId id="523" r:id="rId3"/>
    <p:sldId id="524" r:id="rId4"/>
    <p:sldId id="525" r:id="rId5"/>
    <p:sldId id="526" r:id="rId6"/>
    <p:sldId id="527" r:id="rId7"/>
    <p:sldId id="529" r:id="rId8"/>
    <p:sldId id="530" r:id="rId9"/>
    <p:sldId id="531" r:id="rId10"/>
    <p:sldId id="532" r:id="rId11"/>
    <p:sldId id="533" r:id="rId12"/>
  </p:sldIdLst>
  <p:sldSz cx="10160000" cy="5715000"/>
  <p:notesSz cx="6858000" cy="9144000"/>
  <p:custDataLst>
    <p:tags r:id="rId15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206" userDrawn="1">
          <p15:clr>
            <a:srgbClr val="A4A3A4"/>
          </p15:clr>
        </p15:guide>
        <p15:guide id="3" pos="327" userDrawn="1">
          <p15:clr>
            <a:srgbClr val="A4A3A4"/>
          </p15:clr>
        </p15:guide>
        <p15:guide id="4" pos="60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BAA"/>
    <a:srgbClr val="000000"/>
    <a:srgbClr val="F2F2F2"/>
    <a:srgbClr val="FFBC42"/>
    <a:srgbClr val="D81159"/>
    <a:srgbClr val="20A39E"/>
    <a:srgbClr val="7F7F7F"/>
    <a:srgbClr val="FAE1EA"/>
    <a:srgbClr val="2C1111"/>
    <a:srgbClr val="848E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44" autoAdjust="0"/>
    <p:restoredTop sz="93392" autoAdjust="0"/>
  </p:normalViewPr>
  <p:slideViewPr>
    <p:cSldViewPr snapToGrid="0">
      <p:cViewPr varScale="1">
        <p:scale>
          <a:sx n="137" d="100"/>
          <a:sy n="137" d="100"/>
        </p:scale>
        <p:origin x="355" y="86"/>
      </p:cViewPr>
      <p:guideLst>
        <p:guide orient="horz" pos="3206"/>
        <p:guide pos="327"/>
        <p:guide pos="60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64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8313" y="243069"/>
            <a:ext cx="5903912" cy="45878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en-US" b="1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83506" y="8777812"/>
            <a:ext cx="648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/>
            </a:lvl1pPr>
          </a:lstStyle>
          <a:p>
            <a:pPr algn="l"/>
            <a:fld id="{87233728-C297-40D9-B8EA-516437FDDBB3}" type="datetime1">
              <a:rPr lang="de-DE" sz="800" smtClean="0"/>
              <a:t>01.08.2020</a:t>
            </a:fld>
            <a:endParaRPr lang="en-US" sz="8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68313" y="8777813"/>
            <a:ext cx="4500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/>
            </a:lvl1pPr>
          </a:lstStyle>
          <a:p>
            <a:r>
              <a:rPr lang="en-US" sz="800"/>
              <a:t>Universität Stuttg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70195" y="8777813"/>
            <a:ext cx="360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200"/>
            </a:lvl1pPr>
          </a:lstStyle>
          <a:p>
            <a:pPr algn="l"/>
            <a:fld id="{EE9A79A6-2547-4C8F-B0ED-316280A1A122}" type="slidenum">
              <a:rPr lang="en-US" sz="800" smtClean="0"/>
              <a:pPr algn="l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561533372"/>
      </p:ext>
    </p:extLst>
  </p:cSld>
  <p:clrMap bg1="lt1" tx1="dk1" bg2="lt2" tx2="dk2" accent1="accent1" accent2="accent2" accent3="accent3" accent4="accent4" accent5="accent5" accent6="accent6" hlink="hlink" folHlink="folHlink"/>
  <p:hf/>
  <p:extLst mod="1"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pos="4014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8000" y="244800"/>
            <a:ext cx="5904000" cy="45878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 b="1"/>
            </a:lvl1pPr>
          </a:lstStyle>
          <a:p>
            <a:r>
              <a:rPr lang="en-US" err="1"/>
              <a:t>Titel</a:t>
            </a:r>
            <a:r>
              <a:rPr lang="en-US"/>
              <a:t> der </a:t>
            </a:r>
            <a:r>
              <a:rPr lang="en-US" err="1"/>
              <a:t>Präsentatio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82800" y="8776800"/>
            <a:ext cx="648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/>
            </a:lvl1pPr>
          </a:lstStyle>
          <a:p>
            <a:fld id="{A5CA7BE6-D8C2-4E37-92BC-E832C561DB77}" type="datetime1">
              <a:rPr lang="de-DE" smtClean="0"/>
              <a:t>01.08.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217488" y="1009650"/>
            <a:ext cx="5486401" cy="30861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8313" y="4400550"/>
            <a:ext cx="5903912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68000" y="8776800"/>
            <a:ext cx="4500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/>
            </a:lvl1pPr>
          </a:lstStyle>
          <a:p>
            <a:r>
              <a:rPr lang="en-US" err="1"/>
              <a:t>Universität</a:t>
            </a:r>
            <a:r>
              <a:rPr lang="en-US"/>
              <a:t> Stuttgar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71200" y="8776800"/>
            <a:ext cx="360000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/>
            </a:lvl1pPr>
          </a:lstStyle>
          <a:p>
            <a:fld id="{05DD1DF0-DD4E-4B0C-B0FD-D16D9D2A97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8570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975" indent="-180975" algn="l" defTabSz="713232" rtl="0" eaLnBrk="1" latinLnBrk="0" hangingPunct="1">
      <a:lnSpc>
        <a:spcPct val="120000"/>
      </a:lnSpc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6938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pos="401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Titel der Präsent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5CA7BE6-D8C2-4E37-92BC-E832C561DB77}" type="datetime1">
              <a:rPr lang="de-DE" smtClean="0"/>
              <a:t>01.08.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Universität Stuttgar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DD1DF0-DD4E-4B0C-B0FD-D16D9D2A975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98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381125"/>
            <a:ext cx="10160000" cy="3884399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6696000" y="1814400"/>
            <a:ext cx="2757600" cy="2757600"/>
          </a:xfrm>
          <a:prstGeom prst="ellipse">
            <a:avLst/>
          </a:prstGeom>
          <a:solidFill>
            <a:schemeClr val="bg1"/>
          </a:solidFill>
        </p:spPr>
        <p:txBody>
          <a:bodyPr wrap="square" lIns="0" tIns="0" rIns="0" bIns="1260000" anchor="ctr" anchorCtr="0">
            <a:noAutofit/>
          </a:bodyPr>
          <a:lstStyle>
            <a:lvl1pPr marL="0" indent="0" algn="ctr">
              <a:lnSpc>
                <a:spcPct val="90000"/>
              </a:lnSpc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778" y="1814400"/>
            <a:ext cx="4986000" cy="898901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1">
                <a:solidFill>
                  <a:schemeClr val="tx2"/>
                </a:solidFill>
              </a:defRPr>
            </a:lvl1pPr>
            <a:lvl2pPr marL="285721" indent="0" algn="ctr">
              <a:buNone/>
              <a:defRPr sz="1250"/>
            </a:lvl2pPr>
            <a:lvl3pPr marL="571440" indent="0" algn="ctr">
              <a:buNone/>
              <a:defRPr sz="1125"/>
            </a:lvl3pPr>
            <a:lvl4pPr marL="857161" indent="0" algn="ctr">
              <a:buNone/>
              <a:defRPr sz="1000"/>
            </a:lvl4pPr>
            <a:lvl5pPr marL="1142879" indent="0" algn="ctr">
              <a:buNone/>
              <a:defRPr sz="1000"/>
            </a:lvl5pPr>
            <a:lvl6pPr marL="1428600" indent="0" algn="ctr">
              <a:buNone/>
              <a:defRPr sz="1000"/>
            </a:lvl6pPr>
            <a:lvl7pPr marL="1714319" indent="0" algn="ctr">
              <a:buNone/>
              <a:defRPr sz="1000"/>
            </a:lvl7pPr>
            <a:lvl8pPr marL="2000040" indent="0" algn="ctr">
              <a:buNone/>
              <a:defRPr sz="1000"/>
            </a:lvl8pPr>
            <a:lvl9pPr marL="2285761" indent="0" algn="ctr">
              <a:buNone/>
              <a:defRPr sz="10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8136000" y="3956400"/>
            <a:ext cx="1084175" cy="1084175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778" y="376758"/>
            <a:ext cx="2874270" cy="58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232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263650"/>
            <a:ext cx="10160000" cy="3187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>
          <a:xfrm>
            <a:off x="528000" y="2135700"/>
            <a:ext cx="1443600" cy="1443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000">
                <a:latin typeface="+mj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2729868" y="1683847"/>
            <a:ext cx="240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167"/>
              </a:spcBef>
              <a:spcAft>
                <a:spcPts val="0"/>
              </a:spcAft>
              <a:tabLst>
                <a:tab pos="451068" algn="l"/>
              </a:tabLst>
            </a:pPr>
            <a:r>
              <a:rPr lang="de-DE" sz="2000" b="1" dirty="0" err="1">
                <a:solidFill>
                  <a:srgbClr val="005BAA"/>
                </a:solidFill>
                <a:latin typeface="+mj-lt"/>
                <a:ea typeface="cmss10" charset="0"/>
                <a:cs typeface="cmss10" charset="0"/>
              </a:rPr>
              <a:t>Thank</a:t>
            </a:r>
            <a:r>
              <a:rPr lang="de-DE" sz="2000" b="1" baseline="0" dirty="0">
                <a:solidFill>
                  <a:srgbClr val="005BAA"/>
                </a:solidFill>
                <a:latin typeface="+mj-lt"/>
                <a:ea typeface="cmss10" charset="0"/>
                <a:cs typeface="cmss10" charset="0"/>
              </a:rPr>
              <a:t> </a:t>
            </a:r>
            <a:r>
              <a:rPr lang="de-DE" sz="2000" b="1" baseline="0" dirty="0" err="1">
                <a:solidFill>
                  <a:srgbClr val="005BAA"/>
                </a:solidFill>
                <a:latin typeface="+mj-lt"/>
                <a:ea typeface="cmss10" charset="0"/>
                <a:cs typeface="cmss10" charset="0"/>
              </a:rPr>
              <a:t>you</a:t>
            </a:r>
            <a:r>
              <a:rPr lang="de-DE" sz="2000" b="1" baseline="0" dirty="0">
                <a:solidFill>
                  <a:srgbClr val="005BAA"/>
                </a:solidFill>
                <a:latin typeface="+mj-lt"/>
                <a:ea typeface="cmss10" charset="0"/>
                <a:cs typeface="cmss10" charset="0"/>
              </a:rPr>
              <a:t>!</a:t>
            </a:r>
            <a:endParaRPr lang="de-DE" sz="2000" b="1" dirty="0">
              <a:solidFill>
                <a:srgbClr val="005BAA"/>
              </a:solidFill>
              <a:latin typeface="+mj-lt"/>
              <a:ea typeface="cmss10" charset="0"/>
              <a:cs typeface="cmss10" charset="0"/>
            </a:endParaRP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3463194" y="4108833"/>
            <a:ext cx="438673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dress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29869" y="2249400"/>
            <a:ext cx="4386739" cy="216000"/>
          </a:xfrm>
        </p:spPr>
        <p:txBody>
          <a:bodyPr/>
          <a:lstStyle>
            <a:lvl1pPr marL="0" indent="0">
              <a:buNone/>
              <a:defRPr sz="1200" b="1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Name       Fist Name Last Name</a:t>
            </a:r>
            <a:endParaRPr lang="de-DE" dirty="0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2729868" y="2681400"/>
            <a:ext cx="2949149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25" algn="l"/>
              </a:tabLst>
            </a:pPr>
            <a:r>
              <a:rPr lang="de-DE" sz="1200" b="1" dirty="0" err="1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E-mail</a:t>
            </a:r>
            <a:r>
              <a:rPr lang="de-DE" sz="12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25" algn="l"/>
              </a:tabLst>
            </a:pPr>
            <a:r>
              <a:rPr lang="de-DE" sz="1200" b="1" dirty="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Phone</a:t>
            </a:r>
            <a:r>
              <a:rPr lang="de-DE" sz="1200" baseline="0" dirty="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      </a:t>
            </a:r>
            <a:r>
              <a:rPr lang="de-DE" sz="1200" dirty="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+</a:t>
            </a:r>
            <a:r>
              <a:rPr lang="de-DE" sz="12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49 (0) 711 </a:t>
            </a:r>
            <a:r>
              <a:rPr lang="de-DE" sz="1200" dirty="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685 </a:t>
            </a:r>
            <a:endParaRPr lang="de-DE" sz="1200" dirty="0">
              <a:solidFill>
                <a:schemeClr val="tx2"/>
              </a:solidFill>
              <a:latin typeface="+mj-lt"/>
              <a:ea typeface="cmss10" charset="0"/>
              <a:cs typeface="cmss10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25" algn="l"/>
              </a:tabLst>
              <a:defRPr/>
            </a:pPr>
            <a:r>
              <a:rPr lang="de-DE" sz="1200" b="1" dirty="0" err="1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OrcID</a:t>
            </a:r>
            <a:endParaRPr lang="de-DE" sz="1200" b="1" dirty="0" smtClean="0">
              <a:solidFill>
                <a:schemeClr val="tx2"/>
              </a:solidFill>
              <a:latin typeface="+mj-lt"/>
              <a:ea typeface="cmss10" charset="0"/>
              <a:cs typeface="cmss10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25" algn="l"/>
              </a:tabLst>
              <a:defRPr/>
            </a:pPr>
            <a:endParaRPr lang="de-DE" sz="1200" b="1" dirty="0" smtClean="0">
              <a:solidFill>
                <a:schemeClr val="tx2"/>
              </a:solidFill>
              <a:latin typeface="+mj-lt"/>
              <a:ea typeface="cmss10" charset="0"/>
              <a:cs typeface="cmss10" charset="0"/>
            </a:endParaRPr>
          </a:p>
          <a:p>
            <a:pPr marL="0" marR="0" lvl="0" indent="0" algn="l" defTabSz="685783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25" algn="l"/>
              </a:tabLst>
              <a:defRPr/>
            </a:pPr>
            <a:r>
              <a:rPr lang="de-DE" sz="1200" b="1" dirty="0" err="1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Address</a:t>
            </a:r>
            <a:r>
              <a:rPr lang="de-DE" sz="1200" b="1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	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601576" y="2926176"/>
            <a:ext cx="865689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-##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3453395" y="3164506"/>
            <a:ext cx="2353515" cy="206756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#-####-####-####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3463193" y="3666099"/>
            <a:ext cx="3333349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25" algn="l"/>
              </a:tabLst>
            </a:pPr>
            <a:r>
              <a:rPr lang="de-DE" sz="12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University </a:t>
            </a:r>
            <a:r>
              <a:rPr lang="de-DE" sz="1200" dirty="0" err="1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of</a:t>
            </a:r>
            <a:r>
              <a:rPr lang="de-DE" sz="12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 Stuttgart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3463194" y="3884791"/>
            <a:ext cx="438673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bteilung oder Institutsname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3453396" y="2681400"/>
            <a:ext cx="3663212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dresse eingeben</a:t>
            </a:r>
          </a:p>
        </p:txBody>
      </p:sp>
      <p:pic>
        <p:nvPicPr>
          <p:cNvPr id="15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778" y="361770"/>
            <a:ext cx="2513826" cy="52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6968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381125"/>
            <a:ext cx="10160000" cy="3884399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778" y="1814400"/>
            <a:ext cx="4986000" cy="898901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1">
                <a:solidFill>
                  <a:schemeClr val="tx2"/>
                </a:solidFill>
              </a:defRPr>
            </a:lvl1pPr>
            <a:lvl2pPr marL="285721" indent="0" algn="ctr">
              <a:buNone/>
              <a:defRPr sz="1250"/>
            </a:lvl2pPr>
            <a:lvl3pPr marL="571440" indent="0" algn="ctr">
              <a:buNone/>
              <a:defRPr sz="1125"/>
            </a:lvl3pPr>
            <a:lvl4pPr marL="857161" indent="0" algn="ctr">
              <a:buNone/>
              <a:defRPr sz="1000"/>
            </a:lvl4pPr>
            <a:lvl5pPr marL="1142879" indent="0" algn="ctr">
              <a:buNone/>
              <a:defRPr sz="1000"/>
            </a:lvl5pPr>
            <a:lvl6pPr marL="1428600" indent="0" algn="ctr">
              <a:buNone/>
              <a:defRPr sz="1000"/>
            </a:lvl6pPr>
            <a:lvl7pPr marL="1714319" indent="0" algn="ctr">
              <a:buNone/>
              <a:defRPr sz="1000"/>
            </a:lvl7pPr>
            <a:lvl8pPr marL="2000040" indent="0" algn="ctr">
              <a:buNone/>
              <a:defRPr sz="1000"/>
            </a:lvl8pPr>
            <a:lvl9pPr marL="2285761" indent="0" algn="ctr">
              <a:buNone/>
              <a:defRPr sz="10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9950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0354" y="1325880"/>
            <a:ext cx="9119305" cy="342652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 sz="1400"/>
            </a:lvl2pPr>
            <a:lvl3pPr>
              <a:defRPr sz="14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3pPr>
            <a:lvl4pPr>
              <a:defRPr sz="1400"/>
            </a:lvl4pPr>
            <a:lvl5pPr>
              <a:defRPr sz="14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0000" y="722885"/>
            <a:ext cx="9120000" cy="276225"/>
          </a:xfrm>
        </p:spPr>
        <p:txBody>
          <a:bodyPr lIns="0" tIns="0" rIns="0" bIns="0"/>
          <a:lstStyle>
            <a:lvl1pPr marL="0" indent="0">
              <a:buNone/>
              <a:defRPr sz="1600" b="0" i="1" baseline="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04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0354" y="1325880"/>
            <a:ext cx="9119305" cy="342652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 sz="1400"/>
            </a:lvl2pPr>
            <a:lvl3pPr>
              <a:defRPr sz="14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3pPr>
            <a:lvl4pPr>
              <a:defRPr sz="1400"/>
            </a:lvl4pPr>
            <a:lvl5pPr>
              <a:defRPr sz="140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0000" y="722885"/>
            <a:ext cx="9120000" cy="276225"/>
          </a:xfrm>
        </p:spPr>
        <p:txBody>
          <a:bodyPr lIns="0" tIns="0" rIns="0" bIns="0"/>
          <a:lstStyle>
            <a:lvl1pPr marL="0" indent="0">
              <a:buNone/>
              <a:defRPr sz="1600" b="0" i="1" baseline="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0000" y="1044000"/>
            <a:ext cx="4400000" cy="3708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39653" y="1044000"/>
            <a:ext cx="4400000" cy="3707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0000" y="540005"/>
            <a:ext cx="9120000" cy="276225"/>
          </a:xfrm>
        </p:spPr>
        <p:txBody>
          <a:bodyPr lIns="0" tIns="0" rIns="0" bIns="0"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647" y="1044000"/>
            <a:ext cx="4400000" cy="239148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285721" indent="0">
              <a:buNone/>
              <a:defRPr sz="1250" b="1"/>
            </a:lvl2pPr>
            <a:lvl3pPr marL="571440" indent="0">
              <a:buNone/>
              <a:defRPr sz="1125" b="1"/>
            </a:lvl3pPr>
            <a:lvl4pPr marL="857161" indent="0">
              <a:buNone/>
              <a:defRPr sz="1000" b="1"/>
            </a:lvl4pPr>
            <a:lvl5pPr marL="1142879" indent="0">
              <a:buNone/>
              <a:defRPr sz="1000" b="1"/>
            </a:lvl5pPr>
            <a:lvl6pPr marL="1428600" indent="0">
              <a:buNone/>
              <a:defRPr sz="1000" b="1"/>
            </a:lvl6pPr>
            <a:lvl7pPr marL="1714319" indent="0">
              <a:buNone/>
              <a:defRPr sz="1000" b="1"/>
            </a:lvl7pPr>
            <a:lvl8pPr marL="2000040" indent="0">
              <a:buNone/>
              <a:defRPr sz="1000" b="1"/>
            </a:lvl8pPr>
            <a:lvl9pPr marL="2285761" indent="0">
              <a:buNone/>
              <a:defRPr sz="10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000" y="1404000"/>
            <a:ext cx="4400000" cy="33631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5239300" y="1044000"/>
            <a:ext cx="4400000" cy="239148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285721" indent="0">
              <a:buNone/>
              <a:defRPr sz="1250" b="1"/>
            </a:lvl2pPr>
            <a:lvl3pPr marL="571440" indent="0">
              <a:buNone/>
              <a:defRPr sz="1125" b="1"/>
            </a:lvl3pPr>
            <a:lvl4pPr marL="857161" indent="0">
              <a:buNone/>
              <a:defRPr sz="1000" b="1"/>
            </a:lvl4pPr>
            <a:lvl5pPr marL="1142879" indent="0">
              <a:buNone/>
              <a:defRPr sz="1000" b="1"/>
            </a:lvl5pPr>
            <a:lvl6pPr marL="1428600" indent="0">
              <a:buNone/>
              <a:defRPr sz="1000" b="1"/>
            </a:lvl6pPr>
            <a:lvl7pPr marL="1714319" indent="0">
              <a:buNone/>
              <a:defRPr sz="1000" b="1"/>
            </a:lvl7pPr>
            <a:lvl8pPr marL="2000040" indent="0">
              <a:buNone/>
              <a:defRPr sz="1000" b="1"/>
            </a:lvl8pPr>
            <a:lvl9pPr marL="2285761" indent="0">
              <a:buNone/>
              <a:defRPr sz="10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5239653" y="1404000"/>
            <a:ext cx="4400000" cy="33631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0000" y="540005"/>
            <a:ext cx="9120000" cy="276225"/>
          </a:xfrm>
        </p:spPr>
        <p:txBody>
          <a:bodyPr lIns="0" tIns="0" rIns="0" bIns="0"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381125"/>
            <a:ext cx="10160000" cy="3884399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778" y="1814400"/>
            <a:ext cx="4986000" cy="898901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1">
                <a:solidFill>
                  <a:schemeClr val="tx2"/>
                </a:solidFill>
              </a:defRPr>
            </a:lvl1pPr>
            <a:lvl2pPr marL="285721" indent="0" algn="ctr">
              <a:buNone/>
              <a:defRPr sz="1250"/>
            </a:lvl2pPr>
            <a:lvl3pPr marL="571440" indent="0" algn="ctr">
              <a:buNone/>
              <a:defRPr sz="1125"/>
            </a:lvl3pPr>
            <a:lvl4pPr marL="857161" indent="0" algn="ctr">
              <a:buNone/>
              <a:defRPr sz="1000"/>
            </a:lvl4pPr>
            <a:lvl5pPr marL="1142879" indent="0" algn="ctr">
              <a:buNone/>
              <a:defRPr sz="1000"/>
            </a:lvl5pPr>
            <a:lvl6pPr marL="1428600" indent="0" algn="ctr">
              <a:buNone/>
              <a:defRPr sz="1000"/>
            </a:lvl6pPr>
            <a:lvl7pPr marL="1714319" indent="0" algn="ctr">
              <a:buNone/>
              <a:defRPr sz="1000"/>
            </a:lvl7pPr>
            <a:lvl8pPr marL="2000040" indent="0" algn="ctr">
              <a:buNone/>
              <a:defRPr sz="1000"/>
            </a:lvl8pPr>
            <a:lvl9pPr marL="2285761" indent="0" algn="ctr">
              <a:buNone/>
              <a:defRPr sz="10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731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0354" y="180000"/>
            <a:ext cx="9119305" cy="27829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354" y="1381125"/>
            <a:ext cx="9119305" cy="370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07604" y="5418008"/>
            <a:ext cx="80039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defRPr>
            </a:lvl1pPr>
          </a:lstStyle>
          <a:p>
            <a:r>
              <a:rPr lang="en-GB" dirty="0" smtClean="0"/>
              <a:t>March 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351" y="5418008"/>
            <a:ext cx="6720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2"/>
                </a:solidFill>
                <a:latin typeface="+mj-lt"/>
                <a:ea typeface="cmss10" charset="0"/>
                <a:cs typeface="cmss10" charset="0"/>
              </a:defRPr>
            </a:lvl1pPr>
          </a:lstStyle>
          <a:p>
            <a:r>
              <a:rPr lang="en-US" smtClean="0"/>
              <a:t>University of Stuttgar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1485" y="5418008"/>
            <a:ext cx="29451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2"/>
                </a:solidFill>
                <a:latin typeface="+mj-lt"/>
                <a:ea typeface="cmss10" charset="0"/>
                <a:cs typeface="cmss10" charset="0"/>
              </a:defRPr>
            </a:lvl1pPr>
          </a:lstStyle>
          <a:p>
            <a:fld id="{9E82CC3C-1DC0-4FDA-9590-6CC506AB6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6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6" r:id="rId2"/>
    <p:sldLayoutId id="2147483703" r:id="rId3"/>
    <p:sldLayoutId id="2147483705" r:id="rId4"/>
  </p:sldLayoutIdLst>
  <p:hf hdr="0"/>
  <p:txStyles>
    <p:titleStyle>
      <a:lvl1pPr algn="l" defTabSz="57144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cmss10" charset="0"/>
          <a:cs typeface="cmss10" charset="0"/>
        </a:defRPr>
      </a:lvl1pPr>
    </p:titleStyle>
    <p:bodyStyle>
      <a:lvl1pPr marL="142859" indent="-142859" algn="l" defTabSz="571440" rtl="0" eaLnBrk="1" latinLnBrk="0" hangingPunct="1">
        <a:lnSpc>
          <a:spcPct val="120000"/>
        </a:lnSpc>
        <a:spcBef>
          <a:spcPts val="625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cmss10" charset="0"/>
          <a:cs typeface="cmss10" charset="0"/>
        </a:defRPr>
      </a:lvl1pPr>
      <a:lvl2pPr marL="300271" indent="-153443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2pPr>
      <a:lvl3pPr marL="447099" indent="-146828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3pPr>
      <a:lvl4pPr marL="600541" indent="-153443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4pPr>
      <a:lvl5pPr marL="747369" indent="-146828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5pPr>
      <a:lvl6pPr marL="1571460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857181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142899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428620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2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4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16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879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0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319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04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76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70" userDrawn="1">
          <p15:clr>
            <a:srgbClr val="F26B43"/>
          </p15:clr>
        </p15:guide>
        <p15:guide id="2" pos="328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60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0354" y="423840"/>
            <a:ext cx="9119305" cy="27829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354" y="1327575"/>
            <a:ext cx="9119305" cy="3424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4"/>
            <a:r>
              <a:rPr lang="de-DE" dirty="0"/>
              <a:t>Dritte Ebene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520351" y="5274653"/>
            <a:ext cx="150576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University of Stuttgart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9350161" y="5274648"/>
            <a:ext cx="29451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E82CC3C-1DC0-4FDA-9590-6CC506AB67F8}" type="slidenum">
              <a:rPr lang="en-US" sz="800" smtClean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pPr algn="r"/>
              <a:t>‹#›</a:t>
            </a:fld>
            <a:endParaRPr lang="en-US" sz="800" dirty="0">
              <a:solidFill>
                <a:schemeClr val="tx2"/>
              </a:solidFill>
              <a:latin typeface="+mj-lt"/>
              <a:ea typeface="cmss10" charset="0"/>
              <a:cs typeface="cmss10" charset="0"/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689529" y="5274647"/>
            <a:ext cx="4780947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Research Group on Continuum Biomechanics and </a:t>
            </a:r>
            <a:r>
              <a:rPr lang="en-US" sz="800" dirty="0" err="1">
                <a:solidFill>
                  <a:schemeClr val="tx2"/>
                </a:solidFill>
                <a:latin typeface="+mj-lt"/>
                <a:ea typeface="cmss10" charset="0"/>
                <a:cs typeface="cmss10" charset="0"/>
              </a:rPr>
              <a:t>Mechanobiology</a:t>
            </a:r>
            <a:endParaRPr lang="en-US" sz="800" dirty="0">
              <a:solidFill>
                <a:schemeClr val="tx2"/>
              </a:solidFill>
              <a:latin typeface="+mj-lt"/>
              <a:ea typeface="cmss10" charset="0"/>
              <a:cs typeface="cmss10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20351" y="1014852"/>
            <a:ext cx="911930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20351" y="5198232"/>
            <a:ext cx="911930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98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9" r:id="rId2"/>
    <p:sldLayoutId id="2147483700" r:id="rId3"/>
    <p:sldLayoutId id="2147483704" r:id="rId4"/>
  </p:sldLayoutIdLst>
  <p:hf hdr="0"/>
  <p:txStyles>
    <p:titleStyle>
      <a:lvl1pPr algn="l" defTabSz="57144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cmss10" charset="0"/>
          <a:cs typeface="cmss10" charset="0"/>
        </a:defRPr>
      </a:lvl1pPr>
    </p:titleStyle>
    <p:bodyStyle>
      <a:lvl1pPr marL="142859" indent="-142859" algn="l" defTabSz="571440" rtl="0" eaLnBrk="1" latinLnBrk="0" hangingPunct="1">
        <a:lnSpc>
          <a:spcPct val="120000"/>
        </a:lnSpc>
        <a:spcBef>
          <a:spcPts val="625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cmss10" charset="0"/>
          <a:cs typeface="cmss10" charset="0"/>
        </a:defRPr>
      </a:lvl1pPr>
      <a:lvl2pPr marL="300271" indent="-153443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mss10" charset="0"/>
          <a:ea typeface="cmss10" charset="0"/>
          <a:cs typeface="cmss10" charset="0"/>
        </a:defRPr>
      </a:lvl2pPr>
      <a:lvl3pPr marL="447099" indent="-146828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3pPr>
      <a:lvl4pPr marL="600541" indent="-153443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cmss10" charset="0"/>
          <a:ea typeface="cmss10" charset="0"/>
          <a:cs typeface="cmss10" charset="0"/>
        </a:defRPr>
      </a:lvl4pPr>
      <a:lvl5pPr marL="747369" indent="-146828" algn="l" defTabSz="571440" rtl="0" eaLnBrk="1" latinLnBrk="0" hangingPunct="1">
        <a:lnSpc>
          <a:spcPct val="120000"/>
        </a:lnSpc>
        <a:spcBef>
          <a:spcPts val="312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j-lt"/>
          <a:ea typeface="cmss10" charset="0"/>
          <a:cs typeface="cmss10" charset="0"/>
        </a:defRPr>
      </a:lvl5pPr>
      <a:lvl6pPr marL="1571460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2"/>
          </a:solidFill>
          <a:latin typeface="+mn-lt"/>
          <a:ea typeface="+mn-ea"/>
          <a:cs typeface="+mn-cs"/>
        </a:defRPr>
      </a:lvl6pPr>
      <a:lvl7pPr marL="1857181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142899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428620" indent="-142859" algn="l" defTabSz="571440" rtl="0" eaLnBrk="1" latinLnBrk="0" hangingPunct="1">
        <a:lnSpc>
          <a:spcPct val="90000"/>
        </a:lnSpc>
        <a:spcBef>
          <a:spcPts val="312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2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4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16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879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0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319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040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761" algn="l" defTabSz="57144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70" userDrawn="1">
          <p15:clr>
            <a:srgbClr val="F26B43"/>
          </p15:clr>
        </p15:guide>
        <p15:guide id="2" pos="328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60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9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13" Type="http://schemas.openxmlformats.org/officeDocument/2006/relationships/image" Target="../media/image1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4.png"/><Relationship Id="rId2" Type="http://schemas.openxmlformats.org/officeDocument/2006/relationships/tags" Target="../tags/tag3.xml"/><Relationship Id="rId16" Type="http://schemas.openxmlformats.org/officeDocument/2006/relationships/image" Target="../media/image18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3.png"/><Relationship Id="rId5" Type="http://schemas.openxmlformats.org/officeDocument/2006/relationships/tags" Target="../tags/tag6.xml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tags" Target="../tags/tag5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tags" Target="../tags/tag11.xml"/><Relationship Id="rId21" Type="http://schemas.openxmlformats.org/officeDocument/2006/relationships/image" Target="../media/image30.png"/><Relationship Id="rId7" Type="http://schemas.openxmlformats.org/officeDocument/2006/relationships/tags" Target="../tags/tag15.xml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10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3.xml"/><Relationship Id="rId15" Type="http://schemas.openxmlformats.org/officeDocument/2006/relationships/image" Target="../media/image24.png"/><Relationship Id="rId10" Type="http://schemas.openxmlformats.org/officeDocument/2006/relationships/tags" Target="../tags/tag18.xml"/><Relationship Id="rId19" Type="http://schemas.openxmlformats.org/officeDocument/2006/relationships/image" Target="../media/image28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1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0" y="1257491"/>
            <a:ext cx="10160000" cy="3187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4541154" y="4943735"/>
            <a:ext cx="4776922" cy="321036"/>
            <a:chOff x="4741133" y="5107920"/>
            <a:chExt cx="4798420" cy="322480"/>
          </a:xfrm>
        </p:grpSpPr>
        <p:pic>
          <p:nvPicPr>
            <p:cNvPr id="35" name="Picture 2" descr="http://www.mechbau.uni-stuttgart.de/ls2/jrg/Bilder/CBM-Logo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1460"/>
            <a:stretch/>
          </p:blipFill>
          <p:spPr bwMode="auto">
            <a:xfrm>
              <a:off x="8883832" y="5159502"/>
              <a:ext cx="655721" cy="211274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36" name="Picture 4" descr="http://www.mechbau.uni-stuttgart.de/ls2/jrg/Bilder/DFG-Logo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741133" y="5177633"/>
              <a:ext cx="1429525" cy="182325"/>
            </a:xfrm>
            <a:prstGeom prst="rect">
              <a:avLst/>
            </a:prstGeom>
            <a:solidFill>
              <a:schemeClr val="bg1"/>
            </a:solidFill>
          </p:spPr>
        </p:pic>
        <p:grpSp>
          <p:nvGrpSpPr>
            <p:cNvPr id="37" name="Group 36"/>
            <p:cNvGrpSpPr/>
            <p:nvPr/>
          </p:nvGrpSpPr>
          <p:grpSpPr>
            <a:xfrm>
              <a:off x="6728974" y="5107920"/>
              <a:ext cx="1564527" cy="322480"/>
              <a:chOff x="447305" y="5269058"/>
              <a:chExt cx="1735856" cy="393574"/>
            </a:xfrm>
            <a:solidFill>
              <a:schemeClr val="bg1"/>
            </a:solidFill>
          </p:grpSpPr>
          <p:sp>
            <p:nvSpPr>
              <p:cNvPr id="40" name="Rectangle 39"/>
              <p:cNvSpPr/>
              <p:nvPr/>
            </p:nvSpPr>
            <p:spPr>
              <a:xfrm>
                <a:off x="1361228" y="5269058"/>
                <a:ext cx="821933" cy="380436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r>
                  <a:rPr lang="en-IN" sz="800" b="1" dirty="0">
                    <a:solidFill>
                      <a:srgbClr val="515151"/>
                    </a:solidFill>
                    <a:latin typeface="Arial" panose="020B0604020202020204" pitchFamily="34" charset="0"/>
                  </a:rPr>
                  <a:t>Soft Tissue </a:t>
                </a:r>
                <a:br>
                  <a:rPr lang="en-IN" sz="800" b="1" dirty="0">
                    <a:solidFill>
                      <a:srgbClr val="515151"/>
                    </a:solidFill>
                    <a:latin typeface="Arial" panose="020B0604020202020204" pitchFamily="34" charset="0"/>
                  </a:rPr>
                </a:br>
                <a:r>
                  <a:rPr lang="en-IN" sz="800" b="1" dirty="0">
                    <a:solidFill>
                      <a:srgbClr val="515151"/>
                    </a:solidFill>
                    <a:latin typeface="Arial" panose="020B0604020202020204" pitchFamily="34" charset="0"/>
                  </a:rPr>
                  <a:t>Robotics</a:t>
                </a:r>
                <a:endParaRPr lang="en-IN" sz="800" b="1" i="0" dirty="0">
                  <a:solidFill>
                    <a:srgbClr val="51515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pic>
            <p:nvPicPr>
              <p:cNvPr id="38" name="Picture 6" descr="GermanyNZ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305" y="5288216"/>
                <a:ext cx="542124" cy="354364"/>
              </a:xfrm>
              <a:prstGeom prst="rect">
                <a:avLst/>
              </a:prstGeom>
              <a:grpFill/>
            </p:spPr>
          </p:pic>
          <p:pic>
            <p:nvPicPr>
              <p:cNvPr id="39" name="Picture 8" descr="STR-Logo-wide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1543" y="5277618"/>
                <a:ext cx="418074" cy="385014"/>
              </a:xfrm>
              <a:prstGeom prst="rect">
                <a:avLst/>
              </a:prstGeom>
              <a:grpFill/>
            </p:spPr>
          </p:pic>
        </p:grpSp>
      </p:grpSp>
      <p:sp>
        <p:nvSpPr>
          <p:cNvPr id="16" name="Subtitle 3"/>
          <p:cNvSpPr>
            <a:spLocks noGrp="1"/>
          </p:cNvSpPr>
          <p:nvPr>
            <p:ph type="subTitle" idx="1"/>
          </p:nvPr>
        </p:nvSpPr>
        <p:spPr>
          <a:xfrm>
            <a:off x="520001" y="1476375"/>
            <a:ext cx="7500050" cy="2762250"/>
          </a:xfrm>
        </p:spPr>
        <p:txBody>
          <a:bodyPr>
            <a:noAutofit/>
          </a:bodyPr>
          <a:lstStyle/>
          <a:p>
            <a:endParaRPr lang="en-GB" sz="2400" dirty="0" smtClean="0">
              <a:solidFill>
                <a:schemeClr val="tx2">
                  <a:lumMod val="95000"/>
                  <a:lumOff val="5000"/>
                </a:schemeClr>
              </a:solidFill>
              <a:ea typeface="CMU Serif" panose="02000603000000000000" pitchFamily="2" charset="0"/>
              <a:cs typeface="Calibri" panose="020F0502020204030204" pitchFamily="34" charset="0"/>
            </a:endParaRPr>
          </a:p>
          <a:p>
            <a:r>
              <a:rPr lang="en-GB" sz="2400" dirty="0" smtClean="0">
                <a:solidFill>
                  <a:schemeClr val="tx2">
                    <a:lumMod val="95000"/>
                    <a:lumOff val="5000"/>
                  </a:schemeClr>
                </a:solidFill>
                <a:ea typeface="CMU Serif" panose="02000603000000000000" pitchFamily="2" charset="0"/>
                <a:cs typeface="Calibri" panose="020F0502020204030204" pitchFamily="34" charset="0"/>
              </a:rPr>
              <a:t>Introduction to </a:t>
            </a:r>
            <a:br>
              <a:rPr lang="en-GB" sz="2400" dirty="0" smtClean="0">
                <a:solidFill>
                  <a:schemeClr val="tx2">
                    <a:lumMod val="95000"/>
                    <a:lumOff val="5000"/>
                  </a:schemeClr>
                </a:solidFill>
                <a:ea typeface="CMU Serif" panose="02000603000000000000" pitchFamily="2" charset="0"/>
                <a:cs typeface="Calibri" panose="020F0502020204030204" pitchFamily="34" charset="0"/>
              </a:rPr>
            </a:br>
            <a:r>
              <a:rPr lang="en-GB" sz="2400" dirty="0" smtClean="0">
                <a:solidFill>
                  <a:schemeClr val="tx2">
                    <a:lumMod val="95000"/>
                    <a:lumOff val="5000"/>
                  </a:schemeClr>
                </a:solidFill>
                <a:ea typeface="CMU Serif" panose="02000603000000000000" pitchFamily="2" charset="0"/>
                <a:cs typeface="Calibri" panose="020F0502020204030204" pitchFamily="34" charset="0"/>
              </a:rPr>
              <a:t>User Materials in </a:t>
            </a:r>
            <a:r>
              <a:rPr lang="en-GB" sz="2400" dirty="0" err="1" smtClean="0">
                <a:solidFill>
                  <a:schemeClr val="tx2">
                    <a:lumMod val="95000"/>
                    <a:lumOff val="5000"/>
                  </a:schemeClr>
                </a:solidFill>
                <a:ea typeface="CMU Serif" panose="02000603000000000000" pitchFamily="2" charset="0"/>
                <a:cs typeface="Calibri" panose="020F0502020204030204" pitchFamily="34" charset="0"/>
              </a:rPr>
              <a:t>Abaqus</a:t>
            </a:r>
            <a:r>
              <a:rPr lang="en-GB" sz="2400" dirty="0" smtClean="0">
                <a:solidFill>
                  <a:schemeClr val="tx2">
                    <a:lumMod val="95000"/>
                    <a:lumOff val="5000"/>
                  </a:schemeClr>
                </a:solidFill>
                <a:ea typeface="CMU Serif" panose="02000603000000000000" pitchFamily="2" charset="0"/>
                <a:cs typeface="Calibri" panose="020F0502020204030204" pitchFamily="34" charset="0"/>
              </a:rPr>
              <a:t> FEA</a:t>
            </a:r>
            <a:endParaRPr lang="en-US" sz="2400" dirty="0">
              <a:solidFill>
                <a:schemeClr val="tx2">
                  <a:lumMod val="95000"/>
                  <a:lumOff val="5000"/>
                </a:schemeClr>
              </a:solidFill>
              <a:latin typeface="+mj-lt"/>
              <a:ea typeface="CMU Sans Serif" panose="02000603000000000000" pitchFamily="2" charset="0"/>
              <a:cs typeface="CMU Sans Serif" panose="02000603000000000000" pitchFamily="2" charset="0"/>
            </a:endParaRPr>
          </a:p>
          <a:p>
            <a:endParaRPr lang="en-US" sz="1100" dirty="0">
              <a:ea typeface="CMU Sans Serif" panose="02000603000000000000" pitchFamily="2" charset="0"/>
              <a:cs typeface="Calibri" panose="020F0502020204030204" pitchFamily="34" charset="0"/>
            </a:endParaRPr>
          </a:p>
          <a:p>
            <a:r>
              <a:rPr lang="en-US" sz="1100" dirty="0" smtClean="0">
                <a:solidFill>
                  <a:srgbClr val="373F49"/>
                </a:solidFill>
                <a:latin typeface="+mj-lt"/>
                <a:ea typeface="CMU Sans Serif" panose="02000603000000000000" pitchFamily="2" charset="0"/>
                <a:cs typeface="Calibri" panose="020F0502020204030204" pitchFamily="34" charset="0"/>
              </a:rPr>
              <a:t>Harnoor Saini</a:t>
            </a:r>
            <a:endParaRPr lang="en-US" sz="1100" b="0" dirty="0">
              <a:solidFill>
                <a:srgbClr val="373F49"/>
              </a:solidFill>
              <a:latin typeface="+mj-lt"/>
              <a:ea typeface="CMU Sans Serif" panose="02000603000000000000" pitchFamily="2" charset="0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518435" y="1903182"/>
            <a:ext cx="1763845" cy="1896321"/>
            <a:chOff x="6988335" y="1832065"/>
            <a:chExt cx="1763845" cy="1896321"/>
          </a:xfrm>
        </p:grpSpPr>
        <p:sp>
          <p:nvSpPr>
            <p:cNvPr id="3" name="Oval 2"/>
            <p:cNvSpPr/>
            <p:nvPr/>
          </p:nvSpPr>
          <p:spPr>
            <a:xfrm>
              <a:off x="6988335" y="1850069"/>
              <a:ext cx="1763845" cy="1763845"/>
            </a:xfrm>
            <a:prstGeom prst="ellipse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043274" y="1832065"/>
              <a:ext cx="1667304" cy="18963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IRTG STR regular meeting</a:t>
              </a:r>
              <a:r>
                <a:rPr lang="en-GB" sz="1600" dirty="0">
                  <a:solidFill>
                    <a:schemeClr val="tx1">
                      <a:lumMod val="50000"/>
                    </a:schemeClr>
                  </a:solidFill>
                </a:rPr>
                <a:t/>
              </a:r>
              <a:br>
                <a:rPr lang="en-GB" sz="1600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n-GB" sz="1600" dirty="0">
                  <a:solidFill>
                    <a:schemeClr val="tx1">
                      <a:lumMod val="50000"/>
                    </a:schemeClr>
                  </a:solidFill>
                </a:rPr>
                <a:t/>
              </a:r>
              <a:br>
                <a:rPr lang="en-GB" sz="1600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n-GB" sz="1100" dirty="0" smtClean="0">
                  <a:solidFill>
                    <a:schemeClr val="tx1">
                      <a:lumMod val="50000"/>
                    </a:schemeClr>
                  </a:solidFill>
                </a:rPr>
                <a:t>16.12.2019</a:t>
              </a:r>
              <a:r>
                <a:rPr lang="en-GB" sz="1100" dirty="0">
                  <a:solidFill>
                    <a:schemeClr val="tx1">
                      <a:lumMod val="50000"/>
                    </a:schemeClr>
                  </a:solidFill>
                </a:rPr>
                <a:t/>
              </a:r>
              <a:br>
                <a:rPr lang="en-GB" sz="1100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n-GB" sz="1100" dirty="0" smtClean="0">
                  <a:solidFill>
                    <a:schemeClr val="tx1">
                      <a:lumMod val="50000"/>
                    </a:schemeClr>
                  </a:solidFill>
                </a:rPr>
                <a:t>Stuttgart, </a:t>
              </a:r>
              <a:r>
                <a:rPr lang="en-GB" sz="1100" dirty="0">
                  <a:solidFill>
                    <a:schemeClr val="tx1">
                      <a:lumMod val="50000"/>
                    </a:schemeClr>
                  </a:solidFill>
                </a:rPr>
                <a:t>German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651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able time increment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790" y="3243766"/>
            <a:ext cx="1749425" cy="122459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493" y="2372690"/>
            <a:ext cx="1384788" cy="8710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493" y="1335496"/>
            <a:ext cx="1425065" cy="92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77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Finite Element Analysis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tion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119" y="1325880"/>
            <a:ext cx="2712625" cy="346691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520000" y="4792793"/>
            <a:ext cx="30668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/>
              <a:t>http://www.iue.tuwien.ac.at/phd/rovitto/node72.html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3586863" y="3059336"/>
            <a:ext cx="3214048" cy="2073061"/>
            <a:chOff x="3586863" y="3059336"/>
            <a:chExt cx="3214048" cy="2073061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5652" y="3428544"/>
              <a:ext cx="1413346" cy="1288576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3875819" y="4732287"/>
              <a:ext cx="292509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00" dirty="0"/>
                <a:t>https://www.theseus-fe.com/simulation-software/heat-transfer-analysis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586863" y="3059336"/>
              <a:ext cx="261734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b="1" dirty="0" smtClean="0"/>
                <a:t>Heat-transfer</a:t>
              </a:r>
              <a:endParaRPr lang="en-GB" b="1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378018" y="1278162"/>
            <a:ext cx="3422893" cy="1650480"/>
            <a:chOff x="6047111" y="2255759"/>
            <a:chExt cx="3422893" cy="1650480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9720" y="2431844"/>
              <a:ext cx="3370284" cy="1378093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/>
          </p:nvSpPr>
          <p:spPr>
            <a:xfrm>
              <a:off x="6975410" y="3660018"/>
              <a:ext cx="24945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000" dirty="0"/>
                <a:t>http://www.tam.northwestern.edu/tb/D26/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047111" y="2255759"/>
              <a:ext cx="20056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400" b="1" dirty="0" smtClean="0"/>
                <a:t>Structural </a:t>
              </a:r>
              <a:r>
                <a:rPr lang="en-GB" sz="1400" b="1" dirty="0"/>
                <a:t>mechanics</a:t>
              </a:r>
              <a:endParaRPr lang="en-GB" b="1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7149544" y="2608214"/>
            <a:ext cx="3998186" cy="2096098"/>
            <a:chOff x="7149544" y="2608214"/>
            <a:chExt cx="3998186" cy="2096098"/>
          </a:xfrm>
        </p:grpSpPr>
        <p:sp>
          <p:nvSpPr>
            <p:cNvPr id="26" name="TextBox 25"/>
            <p:cNvSpPr txBox="1"/>
            <p:nvPr/>
          </p:nvSpPr>
          <p:spPr>
            <a:xfrm>
              <a:off x="7149544" y="2608214"/>
              <a:ext cx="1715786" cy="2984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buClr>
                  <a:schemeClr val="accent1"/>
                </a:buClr>
              </a:pPr>
              <a:r>
                <a:rPr lang="en-GB" sz="1600" b="1" dirty="0" smtClean="0"/>
                <a:t>Electromagnetic</a:t>
              </a: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0734" y="2895951"/>
              <a:ext cx="1545085" cy="1380276"/>
            </a:xfrm>
            <a:prstGeom prst="rect">
              <a:avLst/>
            </a:prstGeom>
          </p:spPr>
        </p:pic>
        <p:sp>
          <p:nvSpPr>
            <p:cNvPr id="35" name="Rectangle 34"/>
            <p:cNvSpPr/>
            <p:nvPr/>
          </p:nvSpPr>
          <p:spPr>
            <a:xfrm>
              <a:off x="7636787" y="4304202"/>
              <a:ext cx="351094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00" dirty="0"/>
                <a:t>https://www.3ds.com/products-services/simulia/products/opera/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327868" y="1861931"/>
            <a:ext cx="1410029" cy="0"/>
            <a:chOff x="1327868" y="1861931"/>
            <a:chExt cx="1410029" cy="0"/>
          </a:xfrm>
        </p:grpSpPr>
        <p:cxnSp>
          <p:nvCxnSpPr>
            <p:cNvPr id="40" name="Straight Arrow Connector 39"/>
            <p:cNvCxnSpPr/>
            <p:nvPr/>
          </p:nvCxnSpPr>
          <p:spPr>
            <a:xfrm>
              <a:off x="1327868" y="1861931"/>
              <a:ext cx="438647" cy="0"/>
            </a:xfrm>
            <a:prstGeom prst="straightConnector1">
              <a:avLst/>
            </a:prstGeom>
            <a:ln w="762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 flipH="1">
              <a:off x="2299250" y="1861931"/>
              <a:ext cx="438647" cy="0"/>
            </a:xfrm>
            <a:prstGeom prst="straightConnector1">
              <a:avLst/>
            </a:prstGeom>
            <a:ln w="762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>
          <a:xfrm>
            <a:off x="1630017" y="2083242"/>
            <a:ext cx="1662804" cy="599179"/>
            <a:chOff x="1630017" y="2083242"/>
            <a:chExt cx="1662804" cy="599179"/>
          </a:xfrm>
        </p:grpSpPr>
        <p:cxnSp>
          <p:nvCxnSpPr>
            <p:cNvPr id="37" name="Straight Arrow Connector 36"/>
            <p:cNvCxnSpPr/>
            <p:nvPr/>
          </p:nvCxnSpPr>
          <p:spPr>
            <a:xfrm>
              <a:off x="2497690" y="2382831"/>
              <a:ext cx="795131" cy="0"/>
            </a:xfrm>
            <a:prstGeom prst="straightConnector1">
              <a:avLst/>
            </a:prstGeom>
            <a:ln w="28575">
              <a:solidFill>
                <a:srgbClr val="20A39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ounded Rectangle 45"/>
            <p:cNvSpPr/>
            <p:nvPr/>
          </p:nvSpPr>
          <p:spPr>
            <a:xfrm>
              <a:off x="1630017" y="2083242"/>
              <a:ext cx="867673" cy="599179"/>
            </a:xfrm>
            <a:prstGeom prst="roundRect">
              <a:avLst/>
            </a:prstGeom>
            <a:noFill/>
            <a:ln w="28575">
              <a:solidFill>
                <a:srgbClr val="20A3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 smtClean="0"/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8224880" y="2863191"/>
            <a:ext cx="1340762" cy="1571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200" i="1" dirty="0" smtClean="0"/>
              <a:t>Maxwell equation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383695" y="1454247"/>
            <a:ext cx="1340762" cy="1571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200" i="1" dirty="0" smtClean="0"/>
              <a:t>Momentum balanc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863446" y="3263821"/>
            <a:ext cx="1340762" cy="1571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200" i="1" dirty="0" smtClean="0"/>
              <a:t>Heat equation (Fourier)</a:t>
            </a:r>
          </a:p>
        </p:txBody>
      </p:sp>
    </p:spTree>
    <p:extLst>
      <p:ext uri="{BB962C8B-B14F-4D97-AF65-F5344CB8AC3E}">
        <p14:creationId xmlns:p14="http://schemas.microsoft.com/office/powerpoint/2010/main" val="297092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0" grpId="0"/>
      <p:bldP spid="6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Material Modelling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tion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000" y="1611532"/>
            <a:ext cx="5486031" cy="224428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649526" y="4029074"/>
            <a:ext cx="2334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/>
              <a:t>https://nptel.ac.in/courses/105106049/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784708" y="3256638"/>
            <a:ext cx="1979958" cy="599179"/>
          </a:xfrm>
          <a:prstGeom prst="roundRect">
            <a:avLst/>
          </a:prstGeom>
          <a:noFill/>
          <a:ln w="28575">
            <a:solidFill>
              <a:srgbClr val="20A3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6774915" y="1724017"/>
            <a:ext cx="209550" cy="1103092"/>
          </a:xfrm>
          <a:prstGeom prst="rect">
            <a:avLst/>
          </a:prstGeom>
          <a:solidFill>
            <a:srgbClr val="005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20" name="Rectangle 19"/>
          <p:cNvSpPr/>
          <p:nvPr/>
        </p:nvSpPr>
        <p:spPr>
          <a:xfrm>
            <a:off x="7908390" y="2118359"/>
            <a:ext cx="209550" cy="708749"/>
          </a:xfrm>
          <a:prstGeom prst="rect">
            <a:avLst/>
          </a:prstGeom>
          <a:solidFill>
            <a:srgbClr val="005B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6470115" y="2827109"/>
            <a:ext cx="819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603590" y="2827109"/>
            <a:ext cx="819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8022690" y="1724017"/>
            <a:ext cx="0" cy="394342"/>
          </a:xfrm>
          <a:prstGeom prst="straightConnector1">
            <a:avLst/>
          </a:prstGeom>
          <a:ln w="28575">
            <a:solidFill>
              <a:srgbClr val="FFBC4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682740" y="1724017"/>
            <a:ext cx="159258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748" y="1867703"/>
            <a:ext cx="73143" cy="106971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5" y="3498998"/>
            <a:ext cx="952906" cy="220286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5" y="3855817"/>
            <a:ext cx="762002" cy="12300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840" y="2216942"/>
            <a:ext cx="107935" cy="12167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349" y="2403036"/>
            <a:ext cx="38852" cy="127093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5" y="4152184"/>
            <a:ext cx="1332402" cy="132645"/>
          </a:xfrm>
          <a:prstGeom prst="rect">
            <a:avLst/>
          </a:prstGeom>
        </p:spPr>
      </p:pic>
      <p:sp>
        <p:nvSpPr>
          <p:cNvPr id="48" name="Rounded Rectangle 47"/>
          <p:cNvSpPr/>
          <p:nvPr/>
        </p:nvSpPr>
        <p:spPr>
          <a:xfrm>
            <a:off x="6782921" y="3787141"/>
            <a:ext cx="201544" cy="241934"/>
          </a:xfrm>
          <a:prstGeom prst="roundRect">
            <a:avLst/>
          </a:prstGeom>
          <a:noFill/>
          <a:ln w="28575">
            <a:solidFill>
              <a:srgbClr val="20A3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49" name="TextBox 48"/>
          <p:cNvSpPr txBox="1"/>
          <p:nvPr/>
        </p:nvSpPr>
        <p:spPr>
          <a:xfrm>
            <a:off x="5925028" y="1313825"/>
            <a:ext cx="1715786" cy="2984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b="1" dirty="0" smtClean="0"/>
              <a:t>1D Example</a:t>
            </a:r>
          </a:p>
        </p:txBody>
      </p:sp>
      <p:cxnSp>
        <p:nvCxnSpPr>
          <p:cNvPr id="50" name="Straight Arrow Connector 49"/>
          <p:cNvCxnSpPr/>
          <p:nvPr/>
        </p:nvCxnSpPr>
        <p:spPr>
          <a:xfrm flipV="1">
            <a:off x="8022690" y="2827108"/>
            <a:ext cx="0" cy="33528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816" y="2970794"/>
            <a:ext cx="299006" cy="11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9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0" grpId="0" animBg="1"/>
      <p:bldP spid="48" grpId="0" animBg="1"/>
      <p:bldP spid="4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 smtClean="0"/>
              <a:t>Abaqus</a:t>
            </a:r>
            <a:r>
              <a:rPr lang="en-GB" dirty="0" smtClean="0"/>
              <a:t>/implicit uses information at current and previous time</a:t>
            </a:r>
          </a:p>
          <a:p>
            <a:r>
              <a:rPr lang="en-GB" dirty="0" err="1" smtClean="0"/>
              <a:t>Abaqus</a:t>
            </a:r>
            <a:r>
              <a:rPr lang="en-GB" smtClean="0"/>
              <a:t>/explicit </a:t>
            </a:r>
            <a:r>
              <a:rPr lang="en-GB" smtClean="0"/>
              <a:t>uses </a:t>
            </a:r>
            <a:r>
              <a:rPr lang="en-GB" dirty="0" smtClean="0"/>
              <a:t>information only from previous time 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User Materials in </a:t>
            </a:r>
            <a:r>
              <a:rPr lang="en-GB" dirty="0" err="1" smtClean="0"/>
              <a:t>Abaqus</a:t>
            </a:r>
            <a:r>
              <a:rPr lang="en-GB" dirty="0" smtClean="0"/>
              <a:t> (Explicit)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tion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287" y="1278255"/>
            <a:ext cx="1857375" cy="3714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8712" y="1733550"/>
            <a:ext cx="1628775" cy="2667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631" y="2508115"/>
            <a:ext cx="5486031" cy="2244285"/>
          </a:xfrm>
          <a:prstGeom prst="rect">
            <a:avLst/>
          </a:prstGeom>
        </p:spPr>
      </p:pic>
      <p:sp>
        <p:nvSpPr>
          <p:cNvPr id="16" name="Rounded Rectangle 15"/>
          <p:cNvSpPr/>
          <p:nvPr/>
        </p:nvSpPr>
        <p:spPr>
          <a:xfrm>
            <a:off x="3794482" y="4153221"/>
            <a:ext cx="2091967" cy="753067"/>
          </a:xfrm>
          <a:prstGeom prst="roundRect">
            <a:avLst/>
          </a:prstGeom>
          <a:noFill/>
          <a:ln w="28575">
            <a:solidFill>
              <a:srgbClr val="20A3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5080000" y="4598511"/>
            <a:ext cx="956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rgbClr val="20A39E"/>
                </a:solidFill>
              </a:rPr>
              <a:t>VUMAT</a:t>
            </a:r>
            <a:endParaRPr lang="en-GB" b="1" dirty="0">
              <a:solidFill>
                <a:srgbClr val="20A39E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403832" y="2354227"/>
            <a:ext cx="6121043" cy="1736419"/>
          </a:xfrm>
          <a:prstGeom prst="roundRect">
            <a:avLst/>
          </a:prstGeom>
          <a:noFill/>
          <a:ln w="28575">
            <a:solidFill>
              <a:srgbClr val="FFBC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7567605" y="2416467"/>
            <a:ext cx="9565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err="1" smtClean="0">
                <a:solidFill>
                  <a:srgbClr val="FFBC42"/>
                </a:solidFill>
              </a:rPr>
              <a:t>Abaqus</a:t>
            </a:r>
            <a:r>
              <a:rPr lang="en-GB" sz="1400" b="1" dirty="0" smtClean="0">
                <a:solidFill>
                  <a:srgbClr val="FFBC42"/>
                </a:solidFill>
              </a:rPr>
              <a:t>/Explicit</a:t>
            </a:r>
            <a:endParaRPr lang="en-GB" b="1" dirty="0">
              <a:solidFill>
                <a:srgbClr val="FFBC42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998827" y="4693093"/>
            <a:ext cx="2334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/>
              <a:t>https://nptel.ac.in/courses/105106049/</a:t>
            </a:r>
          </a:p>
        </p:txBody>
      </p:sp>
    </p:spTree>
    <p:extLst>
      <p:ext uri="{BB962C8B-B14F-4D97-AF65-F5344CB8AC3E}">
        <p14:creationId xmlns:p14="http://schemas.microsoft.com/office/powerpoint/2010/main" val="1294916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20" grpId="0" animBg="1"/>
      <p:bldP spid="2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Basic Structure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UMAT</a:t>
            </a:r>
            <a:endParaRPr lang="en-GB" dirty="0"/>
          </a:p>
        </p:txBody>
      </p:sp>
      <p:pic>
        <p:nvPicPr>
          <p:cNvPr id="41" name="Picture 4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610" y="1904281"/>
            <a:ext cx="488120" cy="17654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225" y="3809754"/>
            <a:ext cx="395654" cy="231334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223" y="4176417"/>
            <a:ext cx="240800" cy="158452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3806" y="2489332"/>
            <a:ext cx="1532230" cy="244784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1" y="3704426"/>
            <a:ext cx="1761740" cy="186507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735" y="4520114"/>
            <a:ext cx="114970" cy="119078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5758388" y="2939855"/>
            <a:ext cx="947648" cy="3748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dirty="0" smtClean="0"/>
              <a:t>…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552950" y="1276351"/>
            <a:ext cx="2888479" cy="3833356"/>
          </a:xfrm>
          <a:prstGeom prst="roundRect">
            <a:avLst>
              <a:gd name="adj" fmla="val 6439"/>
            </a:avLst>
          </a:prstGeom>
          <a:noFill/>
          <a:ln w="28575">
            <a:solidFill>
              <a:srgbClr val="20A3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63" name="Rectangle 62"/>
          <p:cNvSpPr/>
          <p:nvPr/>
        </p:nvSpPr>
        <p:spPr>
          <a:xfrm>
            <a:off x="4695525" y="2028066"/>
            <a:ext cx="956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rgbClr val="20A39E"/>
                </a:solidFill>
              </a:rPr>
              <a:t>VUMAT</a:t>
            </a:r>
            <a:endParaRPr lang="en-GB" b="1" dirty="0">
              <a:solidFill>
                <a:srgbClr val="20A39E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4022725" y="3944734"/>
            <a:ext cx="530225" cy="0"/>
          </a:xfrm>
          <a:prstGeom prst="straightConnector1">
            <a:avLst/>
          </a:prstGeom>
          <a:ln w="19050">
            <a:solidFill>
              <a:srgbClr val="005BA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>
            <a:off x="7448550" y="1992551"/>
            <a:ext cx="695503" cy="0"/>
          </a:xfrm>
          <a:prstGeom prst="straightConnector1">
            <a:avLst/>
          </a:prstGeom>
          <a:ln w="19050">
            <a:solidFill>
              <a:srgbClr val="005BA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1" y="3274902"/>
            <a:ext cx="1576204" cy="24553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1" y="4036584"/>
            <a:ext cx="2330704" cy="259523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2" y="4433858"/>
            <a:ext cx="2195457" cy="245997"/>
          </a:xfrm>
          <a:prstGeom prst="rect">
            <a:avLst/>
          </a:prstGeom>
        </p:spPr>
      </p:pic>
      <p:sp>
        <p:nvSpPr>
          <p:cNvPr id="75" name="Rectangle 74"/>
          <p:cNvSpPr/>
          <p:nvPr/>
        </p:nvSpPr>
        <p:spPr>
          <a:xfrm>
            <a:off x="597239" y="3171607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7</a:t>
            </a:r>
          </a:p>
        </p:txBody>
      </p:sp>
      <p:sp>
        <p:nvSpPr>
          <p:cNvPr id="76" name="Rectangle 75"/>
          <p:cNvSpPr/>
          <p:nvPr/>
        </p:nvSpPr>
        <p:spPr>
          <a:xfrm>
            <a:off x="1329179" y="3171607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8</a:t>
            </a:r>
          </a:p>
        </p:txBody>
      </p:sp>
      <p:sp>
        <p:nvSpPr>
          <p:cNvPr id="77" name="Rectangle 76"/>
          <p:cNvSpPr/>
          <p:nvPr/>
        </p:nvSpPr>
        <p:spPr>
          <a:xfrm>
            <a:off x="2061119" y="3171606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9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97239" y="2452279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4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329179" y="2452279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5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061119" y="2452278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6</a:t>
            </a:r>
          </a:p>
        </p:txBody>
      </p:sp>
      <p:sp>
        <p:nvSpPr>
          <p:cNvPr id="81" name="Rectangle 80"/>
          <p:cNvSpPr/>
          <p:nvPr/>
        </p:nvSpPr>
        <p:spPr>
          <a:xfrm>
            <a:off x="597239" y="1732951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1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329179" y="1732951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2</a:t>
            </a:r>
          </a:p>
        </p:txBody>
      </p:sp>
      <p:sp>
        <p:nvSpPr>
          <p:cNvPr id="83" name="Rectangle 82"/>
          <p:cNvSpPr/>
          <p:nvPr/>
        </p:nvSpPr>
        <p:spPr>
          <a:xfrm>
            <a:off x="2061119" y="1732950"/>
            <a:ext cx="731940" cy="719327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rgbClr val="005BAA"/>
                </a:solidFill>
              </a:rPr>
              <a:t>3</a:t>
            </a:r>
          </a:p>
        </p:txBody>
      </p:sp>
      <p:pic>
        <p:nvPicPr>
          <p:cNvPr id="86" name="Picture 85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695" y="1177566"/>
            <a:ext cx="2209353" cy="191890"/>
          </a:xfrm>
          <a:prstGeom prst="rect">
            <a:avLst/>
          </a:prstGeom>
        </p:spPr>
      </p:pic>
      <p:sp>
        <p:nvSpPr>
          <p:cNvPr id="91" name="Isosceles Triangle 90"/>
          <p:cNvSpPr/>
          <p:nvPr/>
        </p:nvSpPr>
        <p:spPr>
          <a:xfrm>
            <a:off x="525899" y="3890933"/>
            <a:ext cx="142679" cy="122999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92" name="Isosceles Triangle 91"/>
          <p:cNvSpPr/>
          <p:nvPr/>
        </p:nvSpPr>
        <p:spPr>
          <a:xfrm>
            <a:off x="2723668" y="3890933"/>
            <a:ext cx="142679" cy="122999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93" name="Isosceles Triangle 92"/>
          <p:cNvSpPr/>
          <p:nvPr/>
        </p:nvSpPr>
        <p:spPr>
          <a:xfrm rot="5400000">
            <a:off x="464399" y="3819594"/>
            <a:ext cx="142679" cy="122999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94" name="Isosceles Triangle 93"/>
          <p:cNvSpPr/>
          <p:nvPr/>
        </p:nvSpPr>
        <p:spPr>
          <a:xfrm rot="5400000">
            <a:off x="464399" y="1671451"/>
            <a:ext cx="142679" cy="122999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cxnSp>
        <p:nvCxnSpPr>
          <p:cNvPr id="96" name="Straight Arrow Connector 95"/>
          <p:cNvCxnSpPr/>
          <p:nvPr/>
        </p:nvCxnSpPr>
        <p:spPr>
          <a:xfrm>
            <a:off x="603588" y="1518395"/>
            <a:ext cx="0" cy="21455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1327488" y="1518395"/>
            <a:ext cx="0" cy="21455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>
          <a:xfrm>
            <a:off x="2051388" y="1518395"/>
            <a:ext cx="0" cy="21455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>
            <a:off x="2787988" y="1518395"/>
            <a:ext cx="0" cy="21455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597238" y="4369496"/>
            <a:ext cx="2413385" cy="3191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i="1" dirty="0" smtClean="0"/>
              <a:t>Per element; call VUMAT:</a:t>
            </a:r>
          </a:p>
        </p:txBody>
      </p:sp>
    </p:spTree>
    <p:extLst>
      <p:ext uri="{BB962C8B-B14F-4D97-AF65-F5344CB8AC3E}">
        <p14:creationId xmlns:p14="http://schemas.microsoft.com/office/powerpoint/2010/main" val="4032901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 animBg="1"/>
      <p:bldP spid="6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78100" y="1693386"/>
            <a:ext cx="484187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subroutine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umat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C Read only (unmodifiable)variables -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1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dir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shr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statev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fieldv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props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nneal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2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epTime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talTime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t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,</a:t>
            </a:r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4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empOld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etchOld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fgradOld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eldOld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5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essOld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...,</a:t>
            </a:r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C Write only (modifiable) variables -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7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essNew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eNew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nerInternNew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nerInelasNew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)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include 'vaba_param.inc'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dimension props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props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), density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ordMp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,*),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1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rLength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ainInc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,ndir+nshr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2  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lSpinInc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lock,nshr</a:t>
            </a:r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mpOld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3  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tchOld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,ndir+nshr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4  ...</a:t>
            </a:r>
          </a:p>
          <a:p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2  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nerInternNew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 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nerInelasNew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</a:p>
          <a:p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do 100 km = 1,nblock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GB" sz="900" b="1" dirty="0">
                <a:solidFill>
                  <a:srgbClr val="D8115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r coding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100 continue</a:t>
            </a:r>
          </a:p>
          <a:p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return</a:t>
            </a:r>
          </a:p>
          <a:p>
            <a:r>
              <a:rPr lang="en-GB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en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Welcome to the real world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UMAT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>
            <a:off x="2578100" y="1276351"/>
            <a:ext cx="4670425" cy="3833356"/>
          </a:xfrm>
          <a:prstGeom prst="roundRect">
            <a:avLst>
              <a:gd name="adj" fmla="val 6439"/>
            </a:avLst>
          </a:prstGeom>
          <a:noFill/>
          <a:ln w="28575">
            <a:solidFill>
              <a:srgbClr val="20A3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smtClean="0"/>
          </a:p>
        </p:txBody>
      </p:sp>
      <p:sp>
        <p:nvSpPr>
          <p:cNvPr id="10" name="Rectangle 9"/>
          <p:cNvSpPr/>
          <p:nvPr/>
        </p:nvSpPr>
        <p:spPr>
          <a:xfrm>
            <a:off x="2851150" y="1368520"/>
            <a:ext cx="956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rgbClr val="20A39E"/>
                </a:solidFill>
              </a:rPr>
              <a:t>VUMAT</a:t>
            </a:r>
            <a:endParaRPr lang="en-GB" b="1" dirty="0">
              <a:solidFill>
                <a:srgbClr val="20A39E"/>
              </a:soli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2047875" y="1992551"/>
            <a:ext cx="530225" cy="0"/>
          </a:xfrm>
          <a:prstGeom prst="straightConnector1">
            <a:avLst/>
          </a:prstGeom>
          <a:ln w="19050">
            <a:solidFill>
              <a:srgbClr val="005BA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248525" y="1992551"/>
            <a:ext cx="695503" cy="0"/>
          </a:xfrm>
          <a:prstGeom prst="straightConnector1">
            <a:avLst/>
          </a:prstGeom>
          <a:ln w="19050">
            <a:solidFill>
              <a:srgbClr val="005BA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42900" y="1877135"/>
            <a:ext cx="20637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tchNew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ssOld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,ndir+nshr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rops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props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talTime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...</a:t>
            </a:r>
          </a:p>
          <a:p>
            <a:endParaRPr lang="en-GB" sz="9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944028" y="1877135"/>
            <a:ext cx="206375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ressNew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GB" sz="9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block,ndir+nshr</a:t>
            </a:r>
            <a:r>
              <a:rPr lang="en-GB" sz="9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GB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76575" y="1676297"/>
            <a:ext cx="0" cy="3343378"/>
          </a:xfrm>
          <a:prstGeom prst="line">
            <a:avLst/>
          </a:prstGeom>
          <a:ln w="12700">
            <a:solidFill>
              <a:srgbClr val="FFBC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667000" y="1647722"/>
            <a:ext cx="0" cy="3343378"/>
          </a:xfrm>
          <a:prstGeom prst="line">
            <a:avLst/>
          </a:prstGeom>
          <a:ln w="12700">
            <a:solidFill>
              <a:srgbClr val="FFBC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22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A worked example – three-dimensional isotropic, linear elasticity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UMAT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00" y="2486690"/>
            <a:ext cx="2133600" cy="11049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3879" y="2289300"/>
            <a:ext cx="2038350" cy="15144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b="3326"/>
          <a:stretch/>
        </p:blipFill>
        <p:spPr>
          <a:xfrm>
            <a:off x="2580716" y="3845174"/>
            <a:ext cx="1844675" cy="107156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7125" y="2584320"/>
            <a:ext cx="1963538" cy="201453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5559" y="3018005"/>
            <a:ext cx="3275012" cy="35512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75559" y="3449574"/>
            <a:ext cx="2327154" cy="48541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5559" y="2537328"/>
            <a:ext cx="1601666" cy="40423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5559" y="3948531"/>
            <a:ext cx="1723894" cy="1011922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583500" y="4321860"/>
            <a:ext cx="20701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https://www.ecourses.ou.edu/cgi-bin/eBook.cgi?doc=&amp;topic=me&amp;chap_sec=01.4&amp;page=theory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Generalise 1D elasticity to 3D</a:t>
            </a:r>
          </a:p>
          <a:p>
            <a:r>
              <a:rPr lang="en-GB" dirty="0" smtClean="0"/>
              <a:t>Implement in FORTRAN according to VUMAT requirements</a:t>
            </a:r>
          </a:p>
          <a:p>
            <a:r>
              <a:rPr lang="en-GB" dirty="0" smtClean="0"/>
              <a:t>Validate against in-built </a:t>
            </a:r>
            <a:r>
              <a:rPr lang="en-GB" dirty="0" err="1" smtClean="0"/>
              <a:t>Abaqus</a:t>
            </a:r>
            <a:r>
              <a:rPr lang="en-GB" dirty="0" smtClean="0"/>
              <a:t> linear elasticity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590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	do </a:t>
            </a:r>
            <a:r>
              <a:rPr lang="en-GB" sz="1400" dirty="0" err="1" smtClean="0">
                <a:solidFill>
                  <a:srgbClr val="3E444C"/>
                </a:solidFill>
                <a:latin typeface="Courier New" panose="02070309020205020404" pitchFamily="49" charset="0"/>
              </a:rPr>
              <a:t>i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 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= 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1,nblock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c		sigma_11 componen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>
                <a:solidFill>
                  <a:srgbClr val="3E444C"/>
                </a:solidFill>
                <a:latin typeface="Courier New" panose="02070309020205020404" pitchFamily="49" charset="0"/>
              </a:rPr>
              <a:t>	</a:t>
            </a:r>
            <a:r>
              <a:rPr lang="en-GB" sz="1400" b="1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1)=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		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sigma_22 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omponen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	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2)=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		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sigma_33 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omponen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	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3)=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		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sigma_12 component (shear stress)</a:t>
            </a:r>
            <a:endParaRPr lang="en-GB" sz="1400" dirty="0">
              <a:solidFill>
                <a:srgbClr val="3E444C"/>
              </a:solidFill>
              <a:latin typeface="Courier New" panose="02070309020205020404" pitchFamily="49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	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4)=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c		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sigma_13 component (shear 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stress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	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5)=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c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		</a:t>
            </a: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sigma_23 component (shear </a:t>
            </a:r>
            <a:r>
              <a:rPr lang="en-GB" sz="1400" dirty="0">
                <a:solidFill>
                  <a:srgbClr val="3E444C"/>
                </a:solidFill>
                <a:latin typeface="Courier New" panose="02070309020205020404" pitchFamily="49" charset="0"/>
              </a:rPr>
              <a:t>stress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		</a:t>
            </a:r>
            <a:r>
              <a:rPr lang="en-GB" sz="1400" b="1" dirty="0" err="1" smtClean="0">
                <a:solidFill>
                  <a:srgbClr val="D81159"/>
                </a:solidFill>
                <a:latin typeface="Courier New" panose="02070309020205020404" pitchFamily="49" charset="0"/>
              </a:rPr>
              <a:t>stressNew</a:t>
            </a:r>
            <a:r>
              <a:rPr lang="en-GB" sz="1400" b="1" dirty="0" smtClean="0">
                <a:solidFill>
                  <a:srgbClr val="D81159"/>
                </a:solidFill>
                <a:latin typeface="Courier New" panose="02070309020205020404" pitchFamily="49" charset="0"/>
              </a:rPr>
              <a:t>(i,6)=</a:t>
            </a:r>
            <a:endParaRPr lang="en-GB" sz="1400" b="1" dirty="0">
              <a:solidFill>
                <a:srgbClr val="D81159"/>
              </a:solidFill>
              <a:latin typeface="Courier New" panose="02070309020205020404" pitchFamily="49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 smtClean="0">
                <a:solidFill>
                  <a:srgbClr val="3E444C"/>
                </a:solidFill>
                <a:latin typeface="Courier New" panose="02070309020205020404" pitchFamily="49" charset="0"/>
              </a:rPr>
              <a:t>	end do</a:t>
            </a:r>
            <a:endParaRPr lang="en-GB" sz="14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 worked example – three-dimensional isotropic, linear elasticity</a:t>
            </a:r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UMAT</a:t>
            </a:r>
          </a:p>
        </p:txBody>
      </p:sp>
      <p:pic>
        <p:nvPicPr>
          <p:cNvPr id="21" name="Picture 2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945" y="1325880"/>
            <a:ext cx="2221714" cy="23862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005" y="1697029"/>
            <a:ext cx="3128228" cy="2290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862" y="2090395"/>
            <a:ext cx="4609371" cy="26331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55430" y="4457633"/>
            <a:ext cx="8065477" cy="2947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dirty="0" smtClean="0">
                <a:sym typeface="Wingdings" panose="05000000000000000000" pitchFamily="2" charset="2"/>
              </a:rPr>
              <a:t> Linear or non-linear analyses: (1) material (2) geometric (3) boundary conditions</a:t>
            </a:r>
            <a:endParaRPr lang="en-GB" sz="1600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457199" y="4815400"/>
            <a:ext cx="996461" cy="5275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i="1" dirty="0" smtClean="0">
                <a:solidFill>
                  <a:srgbClr val="005BAA"/>
                </a:solidFill>
              </a:rPr>
              <a:t>reference configuratio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512277" y="4683369"/>
            <a:ext cx="0" cy="132031"/>
          </a:xfrm>
          <a:prstGeom prst="line">
            <a:avLst/>
          </a:prstGeom>
          <a:ln w="12700">
            <a:solidFill>
              <a:srgbClr val="005B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11214" y="4155830"/>
            <a:ext cx="996461" cy="5275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n-GB" sz="1600" i="1" dirty="0" smtClean="0">
                <a:solidFill>
                  <a:srgbClr val="005BAA"/>
                </a:solidFill>
              </a:rPr>
              <a:t>current configuration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625969" y="4391617"/>
            <a:ext cx="0" cy="132031"/>
          </a:xfrm>
          <a:prstGeom prst="line">
            <a:avLst/>
          </a:prstGeom>
          <a:ln w="12700">
            <a:solidFill>
              <a:srgbClr val="005B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242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924" y="1210365"/>
            <a:ext cx="3216276" cy="3801054"/>
          </a:xfrm>
        </p:spPr>
      </p:pic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36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,7364"/>
  <p:tag name="ORIGINALWIDTH" val="189,7263"/>
  <p:tag name="LATEXADDIN" val="\documentclass{article}&#10;\usepackage{amsmath}&#10;\pagestyle{empty}&#10;\begin{document}&#10;&#10;$\Delta\boldsymbol{\epsilon}_i$&#10;&#10;&#10;\end{document}"/>
  <p:tag name="IGUANATEXSIZE" val="20"/>
  <p:tag name="IGUANATEXCURSOR" val="111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,99063"/>
  <p:tag name="ORIGINALWIDTH" val="116,2354"/>
  <p:tag name="LATEXADDIN" val="\documentclass{article}&#10;\usepackage{amsmath}&#10;\pagestyle{empty}&#10;\begin{document}&#10;&#10;$\boldsymbol{\sigma}_{i}$&#10;&#10;&#10;\end{document}"/>
  <p:tag name="IGUANATEXSIZE" val="20"/>
  <p:tag name="IGUANATEXCURSOR" val="104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,2354"/>
  <p:tag name="ORIGINALWIDTH" val="746,1567"/>
  <p:tag name="LATEXADDIN" val="\documentclass{article}&#10;\usepackage{amsmath}&#10;\pagestyle{empty}&#10;\begin{document}&#10;&#10;$\boldsymbol{\sigma}_{i+1}=\mathbf{C}\,\epsilon_{i+1}$&#10;&#10;&#10;\end{document}"/>
  <p:tag name="IGUANATEXSIZE" val="20"/>
  <p:tag name="IGUANATEXCURSOR" val="120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,73866"/>
  <p:tag name="ORIGINALWIDTH" val="865,3918"/>
  <p:tag name="LATEXADDIN" val="\documentclass{article}&#10;\usepackage{amsmath}&#10;\pagestyle{empty}&#10;\begin{document}&#10;&#10;$\sigma_{i+1} = c_1 \times \epsilon_{i+1}$&#10;&#10;&#10;&#10;\end{document}"/>
  <p:tag name="IGUANATEXSIZE" val="20"/>
  <p:tag name="IGUANATEXCURSOR" val="100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,99291"/>
  <p:tag name="ORIGINALWIDTH" val="55,49307"/>
  <p:tag name="LATEXADDIN" val="\documentclass{article}&#10;\usepackage{amsmath}&#10;\pagestyle{empty}&#10;\begin{document}&#10;&#10;$\mathbf{c}$&#10;&#10;&#10;\end{document}"/>
  <p:tag name="IGUANATEXSIZE" val="20"/>
  <p:tag name="IGUANATEXCURSOR" val="92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,4852"/>
  <p:tag name="ORIGINALWIDTH" val="773,9032"/>
  <p:tag name="LATEXADDIN" val="\documentclass{article}&#10;\usepackage{amsmath}&#10;\pagestyle{empty}&#10;\begin{document}&#10;&#10;$\epsilon_{i+1} = \epsilon_{i} + \Delta \epsilon$&#10;&#10;&#10;&#10;\end{document}"/>
  <p:tag name="IGUANATEXSIZE" val="20"/>
  <p:tag name="IGUANATEXCURSOR" val="129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144,357"/>
  <p:tag name="LATEXADDIN" val="\documentclass{article}&#10;\usepackage{amsmath}&#10;\pagestyle{empty}&#10;\begin{document}&#10;&#10;$\sigma_{i+1} = c_1 \times (\epsilon_{i} + \Delta \epsilon) $&#10;&#10;&#10;&#10;\end{document}"/>
  <p:tag name="IGUANATEXSIZE" val="20"/>
  <p:tag name="IGUANATEXCURSOR" val="140"/>
  <p:tag name="TRANSPARENCY" val="True"/>
  <p:tag name="FILENAME" val=""/>
  <p:tag name="LATEXENGINEID" val="0"/>
  <p:tag name="TEMPFOLDER" val="C:\tmp\"/>
  <p:tag name="LATEXFORMHEIGHT" val="304,5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,4852"/>
  <p:tag name="ORIGINALWIDTH" val="1077,615"/>
  <p:tag name="LATEXADDIN" val="\documentclass{article}&#10;\usepackage{amsmath}&#10;\pagestyle{empty}&#10;\begin{document}&#10;&#10;$\sigma_{i+1} = \sigma_{i} + c_1 \times \Delta \epsilon $&#10;&#10;&#10;&#10;\end{document}"/>
  <p:tag name="IGUANATEXSIZE" val="20"/>
  <p:tag name="IGUANATEXCURSOR" val="136"/>
  <p:tag name="TRANSPARENCY" val="True"/>
  <p:tag name="FILENAME" val=""/>
  <p:tag name="LATEXENGINEID" val="0"/>
  <p:tag name="TEMPFOLDER" val="C:\tmp\"/>
  <p:tag name="LATEXFORMHEIGHT" val="304,5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,9865"/>
  <p:tag name="ORIGINALWIDTH" val="1265,092"/>
  <p:tag name="LATEXADDIN" val="\documentclass{article}&#10;\usepackage{amsmath}&#10;\pagestyle{empty}&#10;\begin{document}&#10;&#10;$t_0,t_1,\ldots,t_i,t_{i+1},\ldots,t_n$&#10;&#10;&#10;\end{document}"/>
  <p:tag name="IGUANATEXSIZE" val="20"/>
  <p:tag name="IGUANATEXCURSOR" val="120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,4837"/>
  <p:tag name="ORIGINALWIDTH" val="1214,848"/>
  <p:tag name="LATEXADDIN" val="\documentclass{article}&#10;\usepackage{amsmath}&#10;\pagestyle{empty}&#10;\begin{document}&#10;&#10;$&#10;\sigma_{ij} = \lambda \delta_{ij} \epsilon_{kk} + 2 \mu (\epsilon_{ij})&#10;$&#10;&#10;&#10;\end{document}"/>
  <p:tag name="IGUANATEXSIZE" val="18"/>
  <p:tag name="IGUANATEXCURSOR" val="154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59,99252"/>
  <p:tag name="LATEXADDIN" val="\documentclass{article}&#10;\usepackage{amsmath}&#10;\pagestyle{empty}&#10;\begin{document}&#10;&#10;$d$&#10;&#10;&#10;\end{document}"/>
  <p:tag name="IGUANATEXSIZE" val="12"/>
  <p:tag name="IGUANATEXCURSOR" val="84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710,536"/>
  <p:tag name="LATEXADDIN" val="\documentclass{article}&#10;\usepackage{amsmath}&#10;\pagestyle{empty}&#10;\begin{document}&#10;&#10;$&#10;\sigma_{11} = \lambda (\epsilon_{11}+\epsilon_{22}+\epsilon_{33}) + 2 \mu \epsilon_{11}&#10;$&#10;&#10;&#10;\end{document}"/>
  <p:tag name="IGUANATEXSIZE" val="18"/>
  <p:tag name="IGUANATEXCURSOR" val="170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,982"/>
  <p:tag name="ORIGINALWIDTH" val="2520,435"/>
  <p:tag name="LATEXADDIN" val="\documentclass{article}&#10;\usepackage{amsmath}&#10;\pagestyle{empty}&#10;\begin{document}&#10;&#10;$&#10;\sigma_{11}^{i+1} = \sigma_{11}^{i} + \lambda (\Delta\epsilon_{11}+\Delta\epsilon_{22}+\Delta\epsilon_{33}) + 2 \mu \Delta\epsilon_{11} &#10;$&#10;&#10;&#10;\end{document}"/>
  <p:tag name="IGUANATEXSIZE" val="18"/>
  <p:tag name="IGUANATEXCURSOR" val="136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,9809"/>
  <p:tag name="ORIGINALWIDTH" val="668,9164"/>
  <p:tag name="LATEXADDIN" val="\documentclass{article}&#10;\usepackage{amsmath}&#10;\pagestyle{empty}&#10;\begin{document}&#10;&#10;$\epsilon=\frac{l-L}{L}=\frac{d}{L}$&#10;&#10;&#10;\end{document}"/>
  <p:tag name="IGUANATEXSIZE" val="14"/>
  <p:tag name="IGUANATEXCURSOR" val="115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535,433"/>
  <p:tag name="LATEXADDIN" val="\documentclass{article}&#10;\usepackage{amsmath}&#10;\pagestyle{empty}&#10;\begin{document}&#10;&#10;$\sigma = E \times \epsilon$&#10;&#10;&#10;&#10;\end{document}"/>
  <p:tag name="IGUANATEXSIZE" val="14"/>
  <p:tag name="IGUANATEXCURSOR" val="100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,73937"/>
  <p:tag name="ORIGINALWIDTH" val="75,74055"/>
  <p:tag name="LATEXADDIN" val="\documentclass{article}&#10;\usepackage{amsmath}&#10;\pagestyle{empty}&#10;\begin{document}&#10;&#10;$L$&#10;&#10;&#10;\end{document}"/>
  <p:tag name="IGUANATEXSIZE" val="14"/>
  <p:tag name="IGUANATEXCURSOR" val="83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6,99661"/>
  <p:tag name="LATEXADDIN" val="\documentclass{article}&#10;\usepackage{amsmath}&#10;\pagestyle{empty}&#10;\begin{document}&#10;&#10;$l$&#10;&#10;&#10;\end{document}"/>
  <p:tag name="IGUANATEXSIZE" val="14"/>
  <p:tag name="IGUANATEXCURSOR" val="83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2385"/>
  <p:tag name="ORIGINALWIDTH" val="935,1331"/>
  <p:tag name="LATEXADDIN" val="\documentclass{article}&#10;\usepackage{amsmath}&#10;\pagestyle{empty}&#10;\begin{document}&#10;&#10;$F = \sigma \times A = RF$&#10;&#10;&#10;&#10;\end{document}"/>
  <p:tag name="IGUANATEXSIZE" val="14"/>
  <p:tag name="IGUANATEXCURSOR" val="106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,73866"/>
  <p:tag name="ORIGINALWIDTH" val="239,97"/>
  <p:tag name="LATEXADDIN" val="\documentclass{article}&#10;\usepackage{amsmath}&#10;\pagestyle{empty}&#10;\begin{document}&#10;&#10;$RF$?&#10;&#10;&#10;\end{document}"/>
  <p:tag name="IGUANATEXSIZE" val="12"/>
  <p:tag name="IGUANATEXCURSOR" val="83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,73937"/>
  <p:tag name="ORIGINALWIDTH" val="238,4702"/>
  <p:tag name="LATEXADDIN" val="\documentclass{article}&#10;\usepackage{amsmath}&#10;\pagestyle{empty}&#10;\begin{document}&#10;&#10;$\boldsymbol{\sigma}_{i+1}$&#10;&#10;&#10;\end{document}"/>
  <p:tag name="IGUANATEXSIZE" val="20"/>
  <p:tag name="IGUANATEXCURSOR" val="106"/>
  <p:tag name="TRANSPARENCY" val="True"/>
  <p:tag name="FILENAME" val=""/>
  <p:tag name="LATEXENGINEID" val="0"/>
  <p:tag name="TEMPFOLDER" val="C:\t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Cover pages">
  <a:themeElements>
    <a:clrScheme name="UNI COLOR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9388" indent="-179388">
          <a:buClr>
            <a:schemeClr val="accent1"/>
          </a:buClr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i_Stuttgart_Vorlage D_4zu3_2016 FINAL.pptx" id="{4841BD3C-E1E3-469F-ADD0-9E6EB31E75F5}" vid="{33357EC2-1038-4565-85BB-7F696209DF7D}"/>
    </a:ext>
  </a:extLst>
</a:theme>
</file>

<file path=ppt/theme/theme2.xml><?xml version="1.0" encoding="utf-8"?>
<a:theme xmlns:a="http://schemas.openxmlformats.org/drawingml/2006/main" name="Content">
  <a:themeElements>
    <a:clrScheme name="UNI COLOR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9388" indent="-179388">
          <a:buClr>
            <a:schemeClr val="accent1"/>
          </a:buClr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i_Stuttgart_Vorlage D_4zu3_2016 FINAL.pptx" id="{4841BD3C-E1E3-469F-ADD0-9E6EB31E75F5}" vid="{33357EC2-1038-4565-85BB-7F696209DF7D}"/>
    </a:ext>
  </a:extLst>
</a:theme>
</file>

<file path=ppt/theme/theme3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2_DD24_Svalbard_HessenthalerAndreas</Template>
  <TotalTime>0</TotalTime>
  <Words>313</Words>
  <Application>Microsoft Office PowerPoint</Application>
  <PresentationFormat>Custom</PresentationFormat>
  <Paragraphs>105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mss10</vt:lpstr>
      <vt:lpstr>CMU Sans Serif</vt:lpstr>
      <vt:lpstr>CMU Serif</vt:lpstr>
      <vt:lpstr>Courier New</vt:lpstr>
      <vt:lpstr>Wingdings</vt:lpstr>
      <vt:lpstr>Cover pages</vt:lpstr>
      <vt:lpstr>Content</vt:lpstr>
      <vt:lpstr>PowerPoint Presentation</vt:lpstr>
      <vt:lpstr>Introduction</vt:lpstr>
      <vt:lpstr>Introduction</vt:lpstr>
      <vt:lpstr>Introduction</vt:lpstr>
      <vt:lpstr>VUMAT</vt:lpstr>
      <vt:lpstr>VUMAT</vt:lpstr>
      <vt:lpstr>VUMAT</vt:lpstr>
      <vt:lpstr>VUMAT</vt:lpstr>
      <vt:lpstr>PowerPoint Presentation</vt:lpstr>
      <vt:lpstr>Stable time incr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cp:lastPrinted>2017-04-06T20:15:51Z</cp:lastPrinted>
  <dcterms:created xsi:type="dcterms:W3CDTF">2017-01-24T16:00:46Z</dcterms:created>
  <dcterms:modified xsi:type="dcterms:W3CDTF">2020-08-01T07:22:27Z</dcterms:modified>
</cp:coreProperties>
</file>